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tiff" ContentType="image/tiff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9"/>
  </p:notesMasterIdLst>
  <p:handoutMasterIdLst>
    <p:handoutMasterId r:id="rId10"/>
  </p:handoutMasterIdLst>
  <p:sldIdLst>
    <p:sldId id="303" r:id="rId3"/>
    <p:sldId id="304" r:id="rId4"/>
    <p:sldId id="341" r:id="rId5"/>
    <p:sldId id="333" r:id="rId6"/>
    <p:sldId id="344" r:id="rId7"/>
    <p:sldId id="345" r:id="rId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18A18"/>
    <a:srgbClr val="50AA1E"/>
    <a:srgbClr val="8CD153"/>
    <a:srgbClr val="A1C064"/>
    <a:srgbClr val="61CE24"/>
    <a:srgbClr val="7CDF45"/>
    <a:srgbClr val="3333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118" autoAdjust="0"/>
    <p:restoredTop sz="94637" autoAdjust="0"/>
  </p:normalViewPr>
  <p:slideViewPr>
    <p:cSldViewPr>
      <p:cViewPr varScale="1">
        <p:scale>
          <a:sx n="103" d="100"/>
          <a:sy n="103" d="100"/>
        </p:scale>
        <p:origin x="-222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23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23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8702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струменты реализации долгосрочных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вестиционных проектов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«Инвестиционные проекты с гос. поддержкой и гос. участием»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на основе проектного финансирования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endParaRPr lang="ru-RU" sz="2000" b="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1916832"/>
            <a:ext cx="273630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гос. поддержкой / гос.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участием»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рамках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Ежегодной общественной премии «Регионы – устойчивое развитие»</a:t>
            </a:r>
            <a:endParaRPr lang="ru-RU" sz="1600" b="1" u="sng" dirty="0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02977" y="4005064"/>
            <a:ext cx="259228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правление </a:t>
            </a:r>
            <a:r>
              <a:rPr lang="en-US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 работе </a:t>
            </a: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 субъектами РФ </a:t>
            </a: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тник Мария  </a:t>
            </a: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endParaRPr lang="en-US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857" y="104780"/>
            <a:ext cx="7581191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       Содержание</a:t>
            </a:r>
            <a:endParaRPr lang="ru-RU" sz="2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5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01731270"/>
              </p:ext>
            </p:extLst>
          </p:nvPr>
        </p:nvGraphicFramePr>
        <p:xfrm>
          <a:off x="323528" y="1395258"/>
          <a:ext cx="8352928" cy="771144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8352928"/>
              </a:tblGrid>
              <a:tr h="9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 anchor="ctr"/>
                </a:tc>
              </a:tr>
              <a:tr h="32859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sz="1400" b="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Факторы, вызывающие необходимость координации работы заинтересованных в привлечении инвестиций сторон.</a:t>
                      </a:r>
                      <a:endParaRPr lang="ru-RU" sz="1400" b="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I</a:t>
            </a:r>
            <a:endParaRPr lang="ru-RU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486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7"/>
          </a:xfrm>
        </p:spPr>
        <p:txBody>
          <a:bodyPr>
            <a:norm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Факторы,  вызывающие необходимость координации работы заинтересованных в привлечении инвестиций сторон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9156" y="821350"/>
            <a:ext cx="849694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u="sng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Инициаторам проектов</a:t>
            </a: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онятность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– в виде получения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на ранней стадии работы над проектом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необходимой информации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 возможных формах и условиях финансирования и поддержки,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для возможности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ассчитать финансовые ресурсы и разработать порядок действий. </a:t>
            </a:r>
            <a:endParaRPr lang="ru-RU" sz="14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Гарантии защиты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т потери Бизнеса и излишней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бюрократии.</a:t>
            </a:r>
          </a:p>
          <a:p>
            <a:pPr algn="just"/>
            <a:r>
              <a:rPr lang="ru-RU" sz="1400" b="1" u="sng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Органам государственной власти Субъектов федерации</a:t>
            </a: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ост предпринимательской активности в области малого и среднего бизнеса, направленной на создание новых субъектов хозяйственной деятельности, в том числе сосредоточенных на специально выделяемых инвестиционных площадках, включая индустриальные парки. </a:t>
            </a: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ктивное подключение кредитно-финансовых учреждений к работе с предпринимателями и инициативными гражданами па этапе формирования бизнес-идей. </a:t>
            </a: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Наличие понятного федерального законодательства, регулирующего государственную поддержку инвестиционной деятельности, базирующегося на реальных предложениях предпринимателей. </a:t>
            </a:r>
          </a:p>
          <a:p>
            <a:pPr algn="just"/>
            <a:r>
              <a:rPr lang="ru-RU" sz="1400" b="1" u="sng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Федеральные органам государственной власти</a:t>
            </a: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частие в анализе всего потока поступающих инвестиционных проектов и бизнес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идей, с целью выработки универсальных механизмов государственной поддержки инвестиционной деятельности.</a:t>
            </a: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нтроль 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аботы региональных органов исполнительной власти по фактическим показателям (реализация инвестиционных соглашений). </a:t>
            </a:r>
            <a:endParaRPr lang="ru-RU" sz="14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Возможность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мплектовать из представленных к рассмотрению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ектов производственные кластеры,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беспечивающие производственную кооперацию с якорным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зидентом,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пециально выделенных инвестиционных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лощадок,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включая площадки монопрофильных муниципальных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бразований.</a:t>
            </a:r>
          </a:p>
          <a:p>
            <a:pPr algn="just"/>
            <a:endParaRPr lang="ru-RU" sz="1400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520" y="5736158"/>
            <a:ext cx="87129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комитет Конкурса «Регионы – устойчивое развитие»  - </a:t>
            </a:r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оздан </a:t>
            </a:r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в 2011 году</a:t>
            </a:r>
          </a:p>
          <a:p>
            <a:pPr lvl="1" indent="257175"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авительство РФ  - Поручение 10 августа 2011 года № ДК-П9-5670</a:t>
            </a:r>
          </a:p>
          <a:p>
            <a:pPr lvl="1" indent="257175"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 </a:t>
            </a:r>
          </a:p>
          <a:p>
            <a:pPr lvl="1" algn="just"/>
            <a:r>
              <a:rPr lang="ru-RU" sz="1600" i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О «ВТБ – Банк» (</a:t>
            </a:r>
            <a:r>
              <a:rPr lang="ru-RU" sz="1600" i="1" dirty="0" err="1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о-организатор</a:t>
            </a:r>
            <a:r>
              <a:rPr lang="ru-RU" sz="1600" i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с  мая 2014 года)</a:t>
            </a:r>
          </a:p>
        </p:txBody>
      </p:sp>
      <p:sp>
        <p:nvSpPr>
          <p:cNvPr id="5" name="Стрелка вниз 4"/>
          <p:cNvSpPr/>
          <p:nvPr/>
        </p:nvSpPr>
        <p:spPr>
          <a:xfrm>
            <a:off x="3995936" y="5373216"/>
            <a:ext cx="648072" cy="360040"/>
          </a:xfrm>
          <a:prstGeom prst="downArrow">
            <a:avLst/>
          </a:prstGeom>
          <a:solidFill>
            <a:srgbClr val="61CE2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2</a:t>
            </a:r>
            <a:endParaRPr lang="ru-RU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  Продукт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7504" y="620688"/>
            <a:ext cx="885698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sz="12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 и Оргкомитет Конкурса создали:</a:t>
            </a:r>
          </a:p>
          <a:p>
            <a:pPr marL="800100" lvl="1" indent="-3429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2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Единая Программа (алгоритм) по сбору заявок инвестиционных проектов</a:t>
            </a:r>
            <a:r>
              <a:rPr lang="ru-RU" sz="12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для получения Инициаторами проектов (одновременно): 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Долгового финансирования  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Инвестиционного финансирования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Государственной поддержки (региональная / федеральная)</a:t>
            </a:r>
          </a:p>
          <a:p>
            <a:pPr marL="800100" lvl="1" indent="-342900" algn="just">
              <a:lnSpc>
                <a:spcPct val="150000"/>
              </a:lnSpc>
              <a:buFont typeface="Wingdings" pitchFamily="2" charset="2"/>
              <a:buChar char="v"/>
            </a:pPr>
            <a:endParaRPr lang="ru-RU" sz="1200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800100" lvl="1" indent="-3429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2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ниверсальная (единая) Программа (алгоритм)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отбора, рассмотрения, структурирования и реализации инвестиционных проектов, который стандартизирован под требования: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ребования финансово- кредитных организаций 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ребования Инвестиционных фондов с государственным участием в уставном капитале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ребования страховых компаний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ребования субъектов РФ и требованиям региональных программ 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ребования федеральных целевых программ и государственных программ (действующих и создаваемых)</a:t>
            </a:r>
            <a:endParaRPr lang="ru-RU" sz="1200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1257300" lvl="2" indent="-342900" algn="just">
              <a:lnSpc>
                <a:spcPct val="150000"/>
              </a:lnSpc>
            </a:pPr>
            <a:endParaRPr lang="ru-RU" sz="12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800100" lvl="1" indent="-3429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2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гламент (финансовый продукт)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для финансирования реализации инвестиционных проектов на базе механизма Проектное финансирование («Особые условия финансирования реализации инвестиционных проектов с государственной поддержкой / государственным участием») </a:t>
            </a:r>
          </a:p>
        </p:txBody>
      </p:sp>
      <p:sp>
        <p:nvSpPr>
          <p:cNvPr id="4" name="Стрелка вниз 3"/>
          <p:cNvSpPr/>
          <p:nvPr/>
        </p:nvSpPr>
        <p:spPr>
          <a:xfrm>
            <a:off x="4572000" y="5589240"/>
            <a:ext cx="576064" cy="504056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07504" y="5962054"/>
            <a:ext cx="88569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ctr">
              <a:lnSpc>
                <a:spcPct val="150000"/>
              </a:lnSpc>
            </a:pPr>
            <a:r>
              <a:rPr lang="ru-RU" sz="12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ниверсальная (единая) Система (алгоритм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800100" lvl="1" indent="-342900" algn="ctr">
              <a:lnSpc>
                <a:spcPct val="150000"/>
              </a:lnSpc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аботы по реализации инвестиционных проектов</a:t>
            </a:r>
          </a:p>
          <a:p>
            <a:pPr marL="800100" lvl="1" indent="-342900" algn="ctr">
              <a:lnSpc>
                <a:spcPct val="150000"/>
              </a:lnSpc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и взаимодействии со всеми участниками инвестиционной деятельности на базе проектного финансирования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3</a:t>
            </a:r>
            <a:endParaRPr lang="ru-RU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475656" y="2924944"/>
            <a:ext cx="468052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1" indent="-342900" algn="ctr">
              <a:lnSpc>
                <a:spcPct val="150000"/>
              </a:lnSpc>
            </a:pPr>
            <a:r>
              <a:rPr lang="ru-RU" sz="14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ниверсальная (единая) Программа (алгоритм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342900" lvl="1" indent="-342900" algn="ctr">
              <a:lnSpc>
                <a:spcPct val="150000"/>
              </a:lnSpc>
            </a:pPr>
            <a:r>
              <a:rPr lang="ru-RU" sz="1400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«Схема взаимодействия при реализации инвестиционных проектов с гос. поддержкой / гос. участием» </a:t>
            </a:r>
            <a:endParaRPr lang="ru-RU" sz="1400" u="sng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53469" y="764704"/>
            <a:ext cx="1901290" cy="1077218"/>
          </a:xfrm>
          <a:prstGeom prst="rect">
            <a:avLst/>
          </a:prstGeom>
          <a:solidFill>
            <a:srgbClr val="50AA1E"/>
          </a:solidFill>
          <a:ln w="15875"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ru-RU" sz="16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АО 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Сбербанк России»</a:t>
            </a:r>
          </a:p>
          <a:p>
            <a:pPr algn="ctr"/>
            <a:endParaRPr lang="ru-RU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781978" y="1628800"/>
            <a:ext cx="1269964" cy="58477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нкурса</a:t>
            </a:r>
            <a:endParaRPr lang="ru-RU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трелка вправо 6"/>
          <p:cNvSpPr/>
          <p:nvPr/>
        </p:nvSpPr>
        <p:spPr>
          <a:xfrm rot="5400000">
            <a:off x="3573649" y="2312876"/>
            <a:ext cx="648072" cy="576064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35496" y="4581128"/>
            <a:ext cx="910850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363" lvl="1" indent="-360363" algn="just">
              <a:buFont typeface="Wingdings" pitchFamily="2" charset="2"/>
              <a:buChar char="v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лгоритм позволяет начать реализацию инвестиционного проекта только при наличии решения о финансировании проекта инвестиционным фондом (</a:t>
            </a:r>
            <a:r>
              <a:rPr lang="ru-RU" sz="1400" dirty="0" err="1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ми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) и финансово – кредитной организацией</a:t>
            </a:r>
          </a:p>
          <a:p>
            <a:pPr marL="360363" lvl="1" indent="-360363" algn="just">
              <a:buFont typeface="Wingdings" pitchFamily="2" charset="2"/>
              <a:buChar char="v"/>
            </a:pPr>
            <a:endParaRPr lang="ru-RU" sz="14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360363" lvl="1" indent="-360363" algn="just">
              <a:buFont typeface="Wingdings" pitchFamily="2" charset="2"/>
              <a:buChar char="v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лгоритм исключает необоснованные затраты предприятия при подготовке документов по проекту для рассмотрения финансово – кредитной организацией (Банком)  </a:t>
            </a:r>
          </a:p>
        </p:txBody>
      </p:sp>
      <p:sp>
        <p:nvSpPr>
          <p:cNvPr id="9" name="Стрелка вправо 8"/>
          <p:cNvSpPr/>
          <p:nvPr/>
        </p:nvSpPr>
        <p:spPr>
          <a:xfrm rot="5400000">
            <a:off x="3599892" y="3969060"/>
            <a:ext cx="648072" cy="576064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4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9512" y="6309320"/>
            <a:ext cx="8712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етодическая и техническая работа по организации работы Конкурса возложена на Оргкомитет Конкурса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5656" y="104780"/>
            <a:ext cx="6288392" cy="529249"/>
          </a:xfrm>
        </p:spPr>
        <p:txBody>
          <a:bodyPr/>
          <a:lstStyle/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401266" y="2222441"/>
            <a:ext cx="79928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u="sng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шетник Мария Сергеевна</a:t>
            </a:r>
          </a:p>
          <a:p>
            <a:endParaRPr lang="en-US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правление по работе с субъектами РФ</a:t>
            </a:r>
          </a:p>
          <a:p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: (495) 957-55-08;  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б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: (985) 992-68-38</a:t>
            </a:r>
          </a:p>
          <a:p>
            <a:r>
              <a:rPr lang="en-US" u="sng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SKirpicheva@sberbank.ru</a:t>
            </a:r>
            <a:endParaRPr lang="ru-RU" u="sng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89076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86</TotalTime>
  <Words>564</Words>
  <Application>Microsoft Office PowerPoint</Application>
  <PresentationFormat>Экран (4:3)</PresentationFormat>
  <Paragraphs>73</Paragraphs>
  <Slides>6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1_Тема Office</vt:lpstr>
      <vt:lpstr>2_Тема Office</vt:lpstr>
      <vt:lpstr>  Инструменты реализации долгосрочных  инвестиционных проектов «Инвестиционные проекты с гос. поддержкой и гос. участием»  на основе проектного финансирования    </vt:lpstr>
      <vt:lpstr>          Содержание</vt:lpstr>
      <vt:lpstr>Факторы,  вызывающие необходимость координации работы заинтересованных в привлечении инвестиций сторон.</vt:lpstr>
      <vt:lpstr>              Продукт </vt:lpstr>
      <vt:lpstr> </vt:lpstr>
      <vt:lpstr>Спасибо за внимание</vt:lpstr>
    </vt:vector>
  </TitlesOfParts>
  <Company>Grizli777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mashtakova</cp:lastModifiedBy>
  <cp:revision>270</cp:revision>
  <cp:lastPrinted>2015-03-03T10:46:27Z</cp:lastPrinted>
  <dcterms:created xsi:type="dcterms:W3CDTF">2014-11-17T08:55:10Z</dcterms:created>
  <dcterms:modified xsi:type="dcterms:W3CDTF">2015-03-23T13:14:52Z</dcterms:modified>
</cp:coreProperties>
</file>